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147479182" r:id="rId2"/>
    <p:sldId id="2147479185" r:id="rId3"/>
    <p:sldId id="2147479186" r:id="rId4"/>
    <p:sldId id="214747918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784DD1-1E03-41A0-877D-908C465A0E30}" v="3" dt="2024-09-26T21:21:55.2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38" d="100"/>
          <a:sy n="138" d="100"/>
        </p:scale>
        <p:origin x="484" y="10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Relationship Id="rId14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5AED4-0115-410F-A1F8-33C5DFA9F051}" type="datetimeFigureOut">
              <a:rPr lang="en-US" smtClean="0"/>
              <a:t>9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E05034-E9F0-48EE-A554-BD56E8C7E4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594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92469"/>
            <a:ext cx="2743200" cy="40763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September 26, 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C285063-1080-43C0-AE6D-98E69F0C0D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607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FBFEE9-47FF-40D3-9890-0A297C65A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54742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FBFEE9-47FF-40D3-9890-0A297C65A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89A5BF-574F-4EBE-A887-B19E73B5C8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7630F9-7DFE-4681-8FEA-6510F03972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5372100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0781A84-B68E-4ABA-BE3F-1591264B20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24601" y="1181101"/>
            <a:ext cx="5372103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820424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04098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5291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90820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33003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14319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45318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116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3519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1904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90315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381000"/>
            <a:ext cx="8382001" cy="5715001"/>
          </a:xfrm>
        </p:spPr>
        <p:txBody>
          <a:bodyPr tIns="0"/>
          <a:lstStyle>
            <a:lvl1pPr>
              <a:lnSpc>
                <a:spcPct val="8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2023 Honeywell International Inc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4175286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17412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27888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7669788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4890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7B832-37C7-4A82-B820-206EE1DD811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0590695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158251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411" y="399764"/>
            <a:ext cx="11391902" cy="4191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11" y="127322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273221"/>
            <a:ext cx="53721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555183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696">
          <p15:clr>
            <a:srgbClr val="FBAE40"/>
          </p15:clr>
        </p15:guide>
        <p15:guide id="5" pos="3984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11" y="1273220"/>
            <a:ext cx="11283289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5499583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06C95A-7DBB-4CBA-97D8-7357E39701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1" y="239496"/>
            <a:ext cx="11656464" cy="419100"/>
          </a:xfrm>
        </p:spPr>
        <p:txBody>
          <a:bodyPr anchor="ctr"/>
          <a:lstStyle>
            <a:lvl1pPr>
              <a:lnSpc>
                <a:spcPts val="2200"/>
              </a:lnSpc>
              <a:defRPr sz="2400" spc="-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D23C5ED-EFCE-43BE-B6B5-6D29FC5AF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743" y="6549013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70638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411" y="399764"/>
            <a:ext cx="11391902" cy="4191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11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13411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2639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1000"/>
            <a:ext cx="5372101" cy="5715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000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11" y="1273220"/>
            <a:ext cx="11283289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75411957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098325" y="1300517"/>
            <a:ext cx="4022712" cy="4344840"/>
            <a:chOff x="4125621" y="1410880"/>
            <a:chExt cx="4022712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148333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B83457CB-727E-45A3-B890-9778304AD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180D49F-06EA-4487-AC1B-059CD3F1AFA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F058BF0-367F-4968-AB28-21A4AE0EA89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76313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AA6D1BC-3236-4D73-8C97-B3623F80F37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08831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2AA1CBE-3057-471A-BE7C-AC2D2DF57F8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01298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1000"/>
            <a:ext cx="5372101" cy="57150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352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C4FA61-8681-4CCE-A300-954C39210D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0" y="1181100"/>
            <a:ext cx="112014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2525848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18EA922-C92C-4AFE-8F8C-4C6FC6A3E54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B0E1F4-2F4A-4068-9412-42703EFEC1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099"/>
            <a:ext cx="53721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59105BE-9443-4DB5-8A79-68A2799BA0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24599" y="1181099"/>
            <a:ext cx="5372103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801446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1" y="1181100"/>
            <a:ext cx="5372100" cy="466344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2EAEDD0-A35F-4B38-8359-296A2F6F6F1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84EA13-0694-4C7A-AC48-6F77F1D7C5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0"/>
            <a:ext cx="53721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364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EA0B76E-0CE5-48CC-9380-74748B7F2F0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32488D-0F0D-4E7C-8B6F-6772CE0749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3886386"/>
            <a:ext cx="5372100" cy="201168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6CF0C4-FB27-428A-A446-FCA838725E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4603" y="3886201"/>
            <a:ext cx="5372100" cy="201168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061090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1E721B0-CDAF-44F4-8423-069EE7EBA5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882DBD-7CE6-4E67-BE21-CF2EA9B8F0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68F25FA-7AB1-4485-8A29-0B13307C9F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3254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D3C024F-607B-4696-868C-7A179354EF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6978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567421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5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4201712-F7BB-4A99-8BB4-2F3A4AA5E7A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CA5848-1E3E-484D-A8BA-488AE247A9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0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0D1185B-DC9F-45EC-924C-400E3CCFF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81535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AB71A9-D925-4753-A467-93464FB522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7700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41652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81002"/>
            <a:ext cx="2743200" cy="419099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September 26, 2024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671872F-C4A2-460A-ADE6-F23D8177799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6169948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68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7920842-F4A1-466C-8CAC-F232F8B1E21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D6088-971D-4AD9-A3B9-7C31EC5590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0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0E3C9ED-4574-4EA1-BF6A-8AC71C5DC9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6302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4A3A4B2-BE5E-4259-ADCF-7B4B87BE02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7303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55C525-D748-4F1F-B00C-0161C18468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38303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559438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AFD6C4D-50E1-45BF-B2ED-0A9FFDEAE4C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51EC41-342E-4D02-9FFF-C5D4DEB2EE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95301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47C2A36-7590-4740-94C1-01EC018E9EB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935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A9BC169-559C-4F7E-A57E-01F28DA84F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2502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3E4D4D8-82E2-4E1B-B1D8-0A481E845E0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35069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094063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E91B017-4E2A-4A38-92DF-E15E85281DA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1A302C-F620-47F3-89B7-1FC2A196FE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0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9DF399D-538E-4A44-8F38-C4CDD177DE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24599" y="1181100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2C32CA4-A646-4DB1-98A0-21DB79D58D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1" y="3657601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D268984-FD8E-4787-89BD-2B962BD269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24599" y="3657601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487210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AC9AF1B-77C9-4194-9346-57C0BA3539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2569431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F1BA960-F634-4BFE-B468-887287A86BD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0040594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9E6B73-C7B7-482C-A588-6792D62C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1181100"/>
            <a:ext cx="11201400" cy="4914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1646602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9A3177-5314-4162-AEDA-FD50A4159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FCA8548-4236-4C23-A633-9F2F0E3BC2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24601" y="1181101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259757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1" y="1181100"/>
            <a:ext cx="5372100" cy="4914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85A23-2758-42AF-8508-3F7213122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2" y="1181100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74986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529F3F-4A1B-4316-A963-B7F0BCB9C7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301" y="3886200"/>
            <a:ext cx="5372100" cy="22098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1B3B3EA-46C5-4F3C-A05C-1E65859A6A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24599" y="3886200"/>
            <a:ext cx="5372100" cy="22098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598350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E4070D-4D68-4B0E-99D3-56723F6E22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C44DBD4-130D-4000-BE4C-130497236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43934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838848C-2E86-47CF-AB76-7C3F5555DE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92570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806760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81001"/>
            <a:ext cx="2743200" cy="4191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fld id="{CABE2306-64B2-4E76-99C5-2A47454E6DC8}" type="datetime4">
              <a:rPr lang="en-US" smtClean="0"/>
              <a:t>September 26, 2024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81F08AD-0F5F-4C86-BED1-3B2AFB6F33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397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5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E0D5FF-A12A-4A26-8652-14F08C1690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3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130903-25B6-495D-9F9B-EE0D7C541C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15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4F72656-28AE-4BD6-A453-E95CEC384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677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592872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A572FC-49A0-4A00-91C9-26DE09B2A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36FCFF6-1D52-41AB-92CC-81BB0E2D3B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832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F495DB9-D632-4C9E-BC1B-C5E4627F2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8134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89E66F3-24F9-4E52-BED5-06D3929B00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024362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097430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F2FC03-71CF-4FB1-8012-40F6458F32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5301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F1FD01D-2E17-4D6F-862B-EAB2FE451B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407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27D457A-2050-465F-9F98-78757B33D08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23030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10D5E3D-BE05-4F33-9E34-8B0B639BB1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36585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139525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200414-C27C-4EAF-8828-8B5D0E9045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0"/>
            <a:ext cx="5372099" cy="2247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D63F576-0CF3-44CC-B07C-B8D4061FBA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1" y="3657600"/>
            <a:ext cx="5372099" cy="2438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CF7C5A7-1B5F-4106-AF84-D9162AE128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600" y="1181100"/>
            <a:ext cx="5372099" cy="22479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E274C7-1613-423E-BB7B-522987CD14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600" y="3657600"/>
            <a:ext cx="5372099" cy="2438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16993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7125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2091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/>
        </p:nvSpPr>
        <p:spPr>
          <a:xfrm>
            <a:off x="4516171" y="2978965"/>
            <a:ext cx="3159659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4950" b="1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29783515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5299" y="495302"/>
            <a:ext cx="6096000" cy="182819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6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6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6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660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Graphic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204858"/>
            <a:ext cx="24384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176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5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8019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6105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1074738"/>
            <a:ext cx="10670117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69863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804863" indent="-17780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1201738" indent="-168275">
              <a:buClr>
                <a:schemeClr val="accent2"/>
              </a:buClr>
              <a:buFontTx/>
              <a:buChar char="-"/>
              <a:defRPr sz="1400">
                <a:solidFill>
                  <a:schemeClr val="tx1"/>
                </a:solidFill>
              </a:defRPr>
            </a:lvl4pPr>
            <a:lvl5pPr marL="1719263" indent="-177800">
              <a:buClr>
                <a:schemeClr val="accent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4131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299" y="4800602"/>
            <a:ext cx="5600700" cy="1066801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tx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3"/>
            <a:ext cx="281940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400" b="1">
                <a:solidFill>
                  <a:schemeClr val="tx1"/>
                </a:solidFill>
                <a:latin typeface="+mn-lt"/>
              </a:defRPr>
            </a:lvl1pPr>
          </a:lstStyle>
          <a:p>
            <a:fld id="{933D8C16-F92E-42E4-A695-CFC4867433E8}" type="datetime4">
              <a:rPr lang="en-US" smtClean="0"/>
              <a:t>September 26, 2024</a:t>
            </a:fld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F3F8F8E-6850-4C28-9BEC-33473F4A71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264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411" y="1273220"/>
            <a:ext cx="11283289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D364B-2F35-4A97-9804-3FF60999E437}" type="slidenum">
              <a:rPr lang="es-MX" smtClean="0"/>
              <a:t>‹#›</a:t>
            </a:fld>
            <a:endParaRPr lang="es-MX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2411461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592667" y="3698875"/>
            <a:ext cx="109537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6140451" y="962026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6259493" y="962652"/>
            <a:ext cx="5429251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92666" y="962652"/>
            <a:ext cx="5429251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576000" y="331305"/>
            <a:ext cx="11128904" cy="5251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275653" y="3804586"/>
            <a:ext cx="5429251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608827" y="3804586"/>
            <a:ext cx="5429251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800"/>
            </a:lvl1pPr>
            <a:lvl2pPr marL="457200" indent="-169863">
              <a:buClr>
                <a:schemeClr val="accent2"/>
              </a:buClr>
              <a:defRPr sz="1600"/>
            </a:lvl2pPr>
            <a:lvl3pPr marL="804863" indent="-177800">
              <a:buClr>
                <a:schemeClr val="accent2"/>
              </a:buClr>
              <a:defRPr sz="1400"/>
            </a:lvl3pPr>
            <a:lvl4pPr marL="1201738" indent="-168275">
              <a:buClr>
                <a:schemeClr val="accent2"/>
              </a:buClr>
              <a:buFontTx/>
              <a:buChar char="-"/>
              <a:defRPr sz="1200"/>
            </a:lvl4pPr>
            <a:lvl5pPr marL="1719263" indent="-177800">
              <a:buClr>
                <a:schemeClr val="accent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2349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025103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06969" y="355139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5990167" y="996953"/>
            <a:ext cx="956" cy="5145389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8" y="357947"/>
            <a:ext cx="10637439" cy="5120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7" y="1005845"/>
            <a:ext cx="5165427" cy="2455115"/>
          </a:xfrm>
          <a:prstGeom prst="rect">
            <a:avLst/>
          </a:prstGeom>
        </p:spPr>
        <p:txBody>
          <a:bodyPr/>
          <a:lstStyle>
            <a:lvl4pPr marL="1200150" indent="-171450">
              <a:buClr>
                <a:schemeClr val="accent2"/>
              </a:buClr>
              <a:buFont typeface="Arial" panose="020B0604020202020204" pitchFamily="34" charset="0"/>
              <a:buChar char="-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9" y="1005845"/>
            <a:ext cx="5208036" cy="2455115"/>
          </a:xfrm>
          <a:prstGeom prst="rect">
            <a:avLst/>
          </a:prstGeom>
        </p:spPr>
        <p:txBody>
          <a:bodyPr/>
          <a:lstStyle>
            <a:lvl4pPr marL="1200150" indent="-171450">
              <a:buClr>
                <a:schemeClr val="accent2"/>
              </a:buClr>
              <a:buFont typeface="Arial" panose="020B0604020202020204" pitchFamily="34" charset="0"/>
              <a:buChar char="-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7" y="3641841"/>
            <a:ext cx="5165427" cy="2500503"/>
          </a:xfrm>
          <a:prstGeom prst="rect">
            <a:avLst/>
          </a:prstGeom>
        </p:spPr>
        <p:txBody>
          <a:bodyPr/>
          <a:lstStyle>
            <a:lvl4pPr marL="1200150" indent="-171450">
              <a:buClr>
                <a:schemeClr val="accent2"/>
              </a:buClr>
              <a:buFont typeface="Arial" panose="020B0604020202020204" pitchFamily="34" charset="0"/>
              <a:buChar char="-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9" y="3641841"/>
            <a:ext cx="5208036" cy="2500503"/>
          </a:xfrm>
          <a:prstGeom prst="rect">
            <a:avLst/>
          </a:prstGeom>
        </p:spPr>
        <p:txBody>
          <a:bodyPr/>
          <a:lstStyle>
            <a:lvl4pPr marL="1200150" indent="-171450">
              <a:buClr>
                <a:schemeClr val="accent2"/>
              </a:buClr>
              <a:buFont typeface="Arial" panose="020B0604020202020204" pitchFamily="34" charset="0"/>
              <a:buChar char="-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l">
              <a:defRPr sz="75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E2D194C-3818-4594-844D-67C94AC1BB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5"/>
            <p:custDataLst>
              <p:tags r:id="rId1"/>
            </p:custDataLst>
          </p:nvPr>
        </p:nvSpPr>
        <p:spPr>
          <a:xfrm>
            <a:off x="0" y="6656836"/>
            <a:ext cx="12192000" cy="173124"/>
          </a:xfrm>
        </p:spPr>
        <p:txBody>
          <a:bodyPr/>
          <a:lstStyle>
            <a:lvl1pPr algn="l">
              <a:defRPr lang="en-US" sz="525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</p:spTree>
    <p:extLst>
      <p:ext uri="{BB962C8B-B14F-4D97-AF65-F5344CB8AC3E}">
        <p14:creationId xmlns:p14="http://schemas.microsoft.com/office/powerpoint/2010/main" val="14559008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00600"/>
            <a:ext cx="2819400" cy="1066801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fld id="{933D8C16-F92E-42E4-A695-CFC4867433E8}" type="datetime4">
              <a:rPr lang="en-US" smtClean="0"/>
              <a:t>September 26, 2024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000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8382000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27588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8381999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66325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14859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AB2A323-0749-4F5A-9A71-D373C17ED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839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5600700" cy="2019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12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8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19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55357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181102"/>
            <a:ext cx="8382000" cy="2247899"/>
          </a:xfrm>
        </p:spPr>
        <p:txBody>
          <a:bodyPr tIns="0" anchor="t"/>
          <a:lstStyle>
            <a:lvl1pPr>
              <a:lnSpc>
                <a:spcPct val="80000"/>
              </a:lnSpc>
              <a:defRPr lang="en-US" sz="40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3657600"/>
            <a:ext cx="5600700" cy="243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5109A7E-E7AA-4EE2-ADEF-C746CAFAACD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1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685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628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421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54327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699406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936230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449020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788554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3699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F7EE7B8-7423-490B-A1BE-0DDF87E6EC6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656657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627366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7601"/>
            <a:ext cx="83820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2"/>
            <a:ext cx="8382000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4396CCD-611B-4440-9CDE-0BB35815E16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26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5048592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881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25768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44886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694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55433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3601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26003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4779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408922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7601"/>
            <a:ext cx="83820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5105402"/>
            <a:ext cx="8381999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9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26B682B-AEBD-447A-B538-F2CB2CE108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69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5341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92469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9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07434" y="6149976"/>
            <a:ext cx="251703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700">
                <a:solidFill>
                  <a:srgbClr val="707070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86104" y="344558"/>
            <a:ext cx="10830680" cy="5118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85800" y="1074739"/>
            <a:ext cx="10670117" cy="5059047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7206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00FA05A-5C58-4939-B23A-CA85D5035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1C0DF15-7E04-48F6-8858-CAC8F02DF0E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11446494" cy="422682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859976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7525696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8382000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59420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8381999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4571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14859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AB2A323-0749-4F5A-9A71-D373C17ED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707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5600700" cy="2019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57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1D1E3F-96BE-4EC6-B772-60D92C1E53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822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2"/>
            <a:ext cx="8382000" cy="12191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B56999B-C7A5-4AFD-B32B-0F810652EB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653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D9BBF2-AA44-4499-9857-E15D5316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D9BBF2-AA44-4499-9857-E15D5316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569AFC9-68E2-4688-BC20-2ABC2A8C23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Honeywell Sans Web Black" panose="02010A03040101060203" pitchFamily="2" charset="0"/>
              <a:ea typeface="+mj-ea"/>
              <a:cs typeface="+mj-cs"/>
              <a:sym typeface="Honeywell Sans Web Black" panose="02010A03040101060203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05A3E6-77D7-49AF-8464-642C3912D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F8D219-E07F-4786-A235-405F80FBEEA9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1445888-4545-4DD2-B216-82739EAC7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494" y="365126"/>
            <a:ext cx="1316460" cy="75966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SBG</a:t>
            </a:r>
          </a:p>
        </p:txBody>
      </p:sp>
      <p:sp>
        <p:nvSpPr>
          <p:cNvPr id="17" name="Content Placeholder 9">
            <a:extLst>
              <a:ext uri="{FF2B5EF4-FFF2-40B4-BE49-F238E27FC236}">
                <a16:creationId xmlns:a16="http://schemas.microsoft.com/office/drawing/2014/main" id="{AE4CA5D5-5FF7-4819-95FF-4AC7EA63AF0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6192" y="365126"/>
            <a:ext cx="10219167" cy="759668"/>
          </a:xfrm>
        </p:spPr>
        <p:txBody>
          <a:bodyPr anchor="ctr">
            <a:noAutofit/>
          </a:bodyPr>
          <a:lstStyle>
            <a:lvl1pPr marL="0" indent="0">
              <a:buNone/>
              <a:defRPr sz="4000" cap="all" spc="-300" baseline="0">
                <a:latin typeface="+mj-lt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Headline black 40pt</a:t>
            </a:r>
          </a:p>
        </p:txBody>
      </p:sp>
    </p:spTree>
    <p:extLst>
      <p:ext uri="{BB962C8B-B14F-4D97-AF65-F5344CB8AC3E}">
        <p14:creationId xmlns:p14="http://schemas.microsoft.com/office/powerpoint/2010/main" val="23691896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0060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06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squar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18405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8381999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06338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14859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AB2A323-0749-4F5A-9A71-D373C17ED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351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5600700" cy="2019301"/>
          </a:xfrm>
        </p:spPr>
        <p:txBody>
          <a:bodyPr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959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20543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233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933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231174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181103"/>
            <a:ext cx="5600700" cy="22478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3848101"/>
            <a:ext cx="5600700" cy="22478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8BA04C2-FBEC-4DFC-AC3F-6E757E5061F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902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772768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033117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27859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274870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0172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222889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2967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2967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7298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7298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595044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tee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F7EE7B8-7423-490B-A1BE-0DDF87E6EC6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951064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6070879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2886725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tags" Target="../tags/tag2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EFD35-96B0-4B47-9487-5DD96F4897EE}"/>
              </a:ext>
            </a:extLst>
          </p:cNvPr>
          <p:cNvGraphicFramePr>
            <a:graphicFrameLocks noChangeAspect="1"/>
          </p:cNvGraphicFramePr>
          <p:nvPr>
            <p:custDataLst>
              <p:tags r:id="rId123"/>
            </p:custDataLst>
            <p:extLst>
              <p:ext uri="{D42A27DB-BD31-4B8C-83A1-F6EECF244321}">
                <p14:modId xmlns:p14="http://schemas.microsoft.com/office/powerpoint/2010/main" val="40010613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5" imgW="347" imgH="348" progId="TCLayout.ActiveDocument.1">
                  <p:embed/>
                </p:oleObj>
              </mc:Choice>
              <mc:Fallback>
                <p:oleObj name="think-cell Slide" r:id="rId12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EFD35-96B0-4B47-9487-5DD96F489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064DF94-7244-4BF8-9BB4-3CC3FB89811A}"/>
              </a:ext>
            </a:extLst>
          </p:cNvPr>
          <p:cNvSpPr/>
          <p:nvPr>
            <p:custDataLst>
              <p:tags r:id="rId12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385346"/>
            <a:ext cx="11201401" cy="4115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9C61BD-1A56-4C96-8300-B2F24AEB8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299" y="6480166"/>
            <a:ext cx="5600703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7" y="6480166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pPr defTabSz="457200">
              <a:defRPr/>
            </a:pPr>
            <a:fld id="{C05CE228-874B-4B88-8E7B-BE8A2097705B}" type="slidenum">
              <a:rPr lang="en-US" smtClean="0">
                <a:solidFill>
                  <a:srgbClr val="000000"/>
                </a:solidFill>
              </a:rPr>
              <a:pPr defTabSz="457200"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© 2023 Honeywell International Inc. Neither this document nor the information contained herein may be reproduced, used, distributed or disclosed to others without the written consent of Honeywel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BF797E-7EC6-4711-AAB8-6396BD7D8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089024"/>
            <a:ext cx="11201401" cy="5159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8629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  <p:sldLayoutId id="2147483766" r:id="rId106"/>
    <p:sldLayoutId id="2147483767" r:id="rId107"/>
    <p:sldLayoutId id="2147483768" r:id="rId108"/>
    <p:sldLayoutId id="2147483769" r:id="rId109"/>
    <p:sldLayoutId id="2147483770" r:id="rId110"/>
    <p:sldLayoutId id="2147483771" r:id="rId111"/>
    <p:sldLayoutId id="2147483772" r:id="rId112"/>
    <p:sldLayoutId id="2147483773" r:id="rId113"/>
    <p:sldLayoutId id="2147483774" r:id="rId114"/>
    <p:sldLayoutId id="2147483775" r:id="rId115"/>
    <p:sldLayoutId id="2147483776" r:id="rId116"/>
    <p:sldLayoutId id="2147483777" r:id="rId117"/>
    <p:sldLayoutId id="2147483779" r:id="rId118"/>
    <p:sldLayoutId id="2147483780" r:id="rId119"/>
    <p:sldLayoutId id="2147483781" r:id="rId120"/>
    <p:sldLayoutId id="2147483782" r:id="rId12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C202E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701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4213" indent="-22225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54075" indent="-16986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42950" indent="-11112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504">
          <p15:clr>
            <a:srgbClr val="9FCC3B"/>
          </p15:clr>
        </p15:guide>
        <p15:guide id="4" orient="horz" pos="4080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840">
          <p15:clr>
            <a:srgbClr val="9FCC3B"/>
          </p15:clr>
        </p15:guide>
        <p15:guide id="10" orient="horz" pos="744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  <p15:guide id="17" orient="horz" pos="240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3.xml"/><Relationship Id="rId1" Type="http://schemas.openxmlformats.org/officeDocument/2006/relationships/tags" Target="../tags/tag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481C65D-82F8-BFF8-ABFA-E344C5878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>
                <a:solidFill>
                  <a:srgbClr val="FFFFFF"/>
                </a:solidFill>
              </a:rPr>
              <a:t>HTF</a:t>
            </a:r>
            <a:r>
              <a:rPr lang="en-US" sz="4000" spc="-60" dirty="0">
                <a:solidFill>
                  <a:srgbClr val="FFFFFF"/>
                </a:solidFill>
              </a:rPr>
              <a:t> Nacelle:</a:t>
            </a:r>
            <a:br>
              <a:rPr lang="en-US" sz="4000" spc="-60" dirty="0">
                <a:solidFill>
                  <a:srgbClr val="FFFFFF"/>
                </a:solidFill>
              </a:rPr>
            </a:br>
            <a:r>
              <a:rPr lang="en-US" sz="4000" spc="-60" dirty="0">
                <a:solidFill>
                  <a:srgbClr val="FFFFFF"/>
                </a:solidFill>
              </a:rPr>
              <a:t>New </a:t>
            </a:r>
            <a:r>
              <a:rPr lang="en-US" sz="4000" spc="-60" dirty="0"/>
              <a:t>special PROGRAM 34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BCF825-D75F-9A53-E4EF-01169DFD43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eftali Rio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5FD1DB-09B7-6F75-1EA7-5DD3BD2E7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73D427-050F-B798-D7E6-99461B40ACF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80175"/>
            <a:ext cx="12192000" cy="238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neywell Internal</a:t>
            </a:r>
          </a:p>
        </p:txBody>
      </p:sp>
    </p:spTree>
    <p:extLst>
      <p:ext uri="{BB962C8B-B14F-4D97-AF65-F5344CB8AC3E}">
        <p14:creationId xmlns:p14="http://schemas.microsoft.com/office/powerpoint/2010/main" val="403836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85C843-AB2B-DDB5-4751-816CA76E0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40921"/>
            <a:ext cx="11201401" cy="419100"/>
          </a:xfrm>
        </p:spPr>
        <p:txBody>
          <a:bodyPr/>
          <a:lstStyle/>
          <a:p>
            <a:r>
              <a:rPr lang="en-US" dirty="0"/>
              <a:t>New SPECIAL Program 3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80A90D-0BE8-236F-2E27-9BCDFF880A98}"/>
              </a:ext>
            </a:extLst>
          </p:cNvPr>
          <p:cNvSpPr txBox="1">
            <a:spLocks/>
          </p:cNvSpPr>
          <p:nvPr/>
        </p:nvSpPr>
        <p:spPr>
          <a:xfrm>
            <a:off x="-1" y="5867400"/>
            <a:ext cx="12192000" cy="495299"/>
          </a:xfrm>
          <a:prstGeom prst="rect">
            <a:avLst/>
          </a:prstGeom>
          <a:solidFill>
            <a:srgbClr val="C00000"/>
          </a:solidFill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>
                  <a:lumMod val="2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C5C5C"/>
              </a:buClr>
              <a:buFont typeface="Arial" panose="020B0604020202020204" pitchFamily="34" charset="0"/>
              <a:buChar char="‒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bg1"/>
                </a:solidFill>
                <a:cs typeface="Arial"/>
              </a:rPr>
              <a:t>Program Will Address </a:t>
            </a:r>
            <a:r>
              <a:rPr lang="en-US" err="1">
                <a:solidFill>
                  <a:schemeClr val="bg1"/>
                </a:solidFill>
                <a:cs typeface="Arial"/>
              </a:rPr>
              <a:t>Mapaero</a:t>
            </a:r>
            <a:r>
              <a:rPr lang="en-US">
                <a:solidFill>
                  <a:schemeClr val="bg1"/>
                </a:solidFill>
                <a:cs typeface="Arial"/>
              </a:rPr>
              <a:t> Anomali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7A40430-7BF8-40D4-1D28-6AC72C24C3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715" y="874653"/>
            <a:ext cx="11201401" cy="4457701"/>
          </a:xfrm>
        </p:spPr>
        <p:txBody>
          <a:bodyPr/>
          <a:lstStyle/>
          <a:p>
            <a:r>
              <a:rPr lang="en-US" dirty="0"/>
              <a:t>Objective:</a:t>
            </a:r>
          </a:p>
          <a:p>
            <a:r>
              <a:rPr lang="en-US" sz="1600" dirty="0">
                <a:latin typeface="Arial" panose="020B0604020202020204" pitchFamily="34" charset="0"/>
                <a:ea typeface="Times New Roman" panose="02020603050405020304" pitchFamily="18" charset="0"/>
              </a:rPr>
              <a:t>E</a:t>
            </a:r>
            <a:r>
              <a:rPr lang="en-US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tablish a policy to clarify appropriate commercial program coverage for the HTF family of turbofan engines while Root Cause and Corrective Active is implemented, and to provide a mechanism for Honeywell to accept Channel Partner claims for early </a:t>
            </a:r>
            <a:r>
              <a:rPr lang="en-US" sz="16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paint anomalies that do not otherwise qualify for Shop Warranty.</a:t>
            </a:r>
          </a:p>
          <a:p>
            <a:endParaRPr lang="en-US" sz="1600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R="0" lvl="0" algn="just">
              <a:spcBef>
                <a:spcPts val="600"/>
              </a:spcBef>
              <a:spcAft>
                <a:spcPts val="0"/>
              </a:spcAft>
            </a:pPr>
            <a:r>
              <a:rPr lang="en-US" sz="1200" b="1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ndition 1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- The T/R entered service with factory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nd has less than 5 years or 3000 hours, whichever occurs first, since aircraft initial Entry Into Service (EIS), or: </a:t>
            </a:r>
            <a:r>
              <a:rPr lang="en-US" sz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Full Coverage for Parts and Labor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1200" b="1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ndition 2</a:t>
            </a:r>
            <a:r>
              <a:rPr lang="en-US" sz="12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- 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T/R had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pplied per the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SB and covered by SPGM 22 revision 6 or earlier, has less than 2 years or 1000 hours, whichever occurs first, since the last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reapplication. </a:t>
            </a:r>
            <a:r>
              <a:rPr lang="en-US" sz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verage for Labor and </a:t>
            </a:r>
            <a:r>
              <a:rPr lang="en-US" sz="1200" dirty="0" err="1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paint related materials. </a:t>
            </a:r>
            <a:r>
              <a:rPr lang="en-US" sz="1200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iscounted Hardware</a:t>
            </a:r>
            <a:endParaRPr lang="en-US" sz="1200" dirty="0">
              <a:solidFill>
                <a:srgbClr val="FF000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742950" marR="0" lvl="1" indent="-285750" algn="just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OTE: For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nomalies identified within 1 year or 200 hours, whichever comes first, the operator should first seek correction with the applicable Channel Partner under service center workmanship.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742950" marR="0" lvl="1" indent="-285750" algn="just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verage is limited to 1 reapplication. 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 algn="just">
              <a:spcBef>
                <a:spcPts val="600"/>
              </a:spcBef>
              <a:spcAft>
                <a:spcPts val="0"/>
              </a:spcAft>
            </a:pPr>
            <a:r>
              <a:rPr lang="en-US" sz="1200" b="1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ndition 3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– The T/R had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pplied but is outside the policy listed in Condition 1 and Condition 2 of this program. All costs for reapplication are to the operator. </a:t>
            </a:r>
            <a:r>
              <a:rPr lang="en-US" sz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iscounted Hardware only.</a:t>
            </a:r>
            <a:endParaRPr lang="en-US" sz="1200" dirty="0">
              <a:solidFill>
                <a:srgbClr val="FF000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R="0" lvl="0">
              <a:spcBef>
                <a:spcPts val="600"/>
              </a:spcBef>
              <a:spcAft>
                <a:spcPts val="0"/>
              </a:spcAft>
            </a:pPr>
            <a:r>
              <a:rPr lang="en-US" sz="1200" b="1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ndition 4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– The T/R has not had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pplied- No coverage under this program. All costs for the application of </a:t>
            </a:r>
            <a:r>
              <a:rPr lang="en-US" sz="1200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apAero</a:t>
            </a: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are to the operator.</a:t>
            </a:r>
            <a:r>
              <a:rPr lang="en-US" sz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No coverage.</a:t>
            </a:r>
            <a:endParaRPr lang="en-US" sz="1200" dirty="0">
              <a:solidFill>
                <a:srgbClr val="FF000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76BB375-F615-338E-225F-9C1A10A4BF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5153" y="6517079"/>
            <a:ext cx="5600703" cy="23761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accent4">
                    <a:lumMod val="75000"/>
                  </a:schemeClr>
                </a:solidFill>
              </a:rPr>
              <a:t>Honeywell Internal</a:t>
            </a:r>
          </a:p>
        </p:txBody>
      </p:sp>
    </p:spTree>
    <p:extLst>
      <p:ext uri="{BB962C8B-B14F-4D97-AF65-F5344CB8AC3E}">
        <p14:creationId xmlns:p14="http://schemas.microsoft.com/office/powerpoint/2010/main" val="1684470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B1953-1940-2C14-F4AF-0FBD424DD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GM 34 Request Templa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C19255-2078-41E8-7F7C-5BCA5EF73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Honeywell 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FF053D-E147-721F-5DE4-D754E18BA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2A8A8-2662-6131-CBE5-8D93EDCBFE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PGM 34 Request Template Required In Order to Proceed With Pre-Approva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B34D6DD-90AD-5F8F-F42A-E7A4E4941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299" y="950658"/>
            <a:ext cx="7598698" cy="49916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F75C4BB-E744-35EE-765B-6F16C0A1F0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2260" y="1557573"/>
            <a:ext cx="2837948" cy="229515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02D15FE-2DE0-40E6-A1AD-348D5B1DED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8907" y="3611707"/>
            <a:ext cx="2331301" cy="218123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98D3398-86E1-6E18-8889-9551C5D36090}"/>
              </a:ext>
            </a:extLst>
          </p:cNvPr>
          <p:cNvSpPr txBox="1"/>
          <p:nvPr/>
        </p:nvSpPr>
        <p:spPr>
          <a:xfrm>
            <a:off x="8692260" y="1173407"/>
            <a:ext cx="2755726" cy="3766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400" b="1" dirty="0">
                <a:solidFill>
                  <a:prstClr val="black"/>
                </a:solidFill>
              </a:rPr>
              <a:t>Pictures Required </a:t>
            </a:r>
          </a:p>
        </p:txBody>
      </p:sp>
    </p:spTree>
    <p:extLst>
      <p:ext uri="{BB962C8B-B14F-4D97-AF65-F5344CB8AC3E}">
        <p14:creationId xmlns:p14="http://schemas.microsoft.com/office/powerpoint/2010/main" val="2659393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33D380-2BCD-75F0-AEA7-8A836CC98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421" y="3006444"/>
            <a:ext cx="10523336" cy="498475"/>
          </a:xfrm>
        </p:spPr>
        <p:txBody>
          <a:bodyPr/>
          <a:lstStyle/>
          <a:p>
            <a:pPr algn="ctr"/>
            <a:r>
              <a:rPr lang="en-US" dirty="0"/>
              <a:t>Questions (?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86061-E2BA-D5FC-34EE-38CEA8E159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1D1E3F-96BE-4EC6-B772-60D92C1E53EA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8B0F0E-815A-40E4-8C75-CE380BEC5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027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sa9x3VQ68rPHEqmxHY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6u0.htQPafRkcK_hwy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iR8j.2IS0ACQX.YAv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Honeywell 2019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>
            <a:solidFill>
              <a:prstClr val="black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F34E4ED3-4A14-42A3-9CB6-EE01862AD625}" vid="{64674C84-1CE9-434C-875F-14533CD9CF8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34FE2A5FCB4A40879E88ECF8489FD4" ma:contentTypeVersion="16" ma:contentTypeDescription="Create a new document." ma:contentTypeScope="" ma:versionID="2d6054e718a6b3d49ddabad75901d3f1">
  <xsd:schema xmlns:xsd="http://www.w3.org/2001/XMLSchema" xmlns:xs="http://www.w3.org/2001/XMLSchema" xmlns:p="http://schemas.microsoft.com/office/2006/metadata/properties" xmlns:ns2="5c9ad062-aa00-492d-a75b-e00dca3b3d0f" xmlns:ns3="0dab3b79-5a11-4a79-9b08-3bd2d79ac80f" xmlns:ns4="213af126-92eb-4bb5-8bfd-1661103a2928" targetNamespace="http://schemas.microsoft.com/office/2006/metadata/properties" ma:root="true" ma:fieldsID="5b1465dfc66d7d380ed0c709667da3b6" ns2:_="" ns3:_="" ns4:_="">
    <xsd:import namespace="5c9ad062-aa00-492d-a75b-e00dca3b3d0f"/>
    <xsd:import namespace="0dab3b79-5a11-4a79-9b08-3bd2d79ac80f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ad062-aa00-492d-a75b-e00dca3b3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b3b79-5a11-4a79-9b08-3bd2d79ac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c8bf28e-e1e2-4321-b4d7-8a8cbe31736a}" ma:internalName="TaxCatchAll" ma:showField="CatchAllData" ma:web="0dab3b79-5a11-4a79-9b08-3bd2d79ac8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3af126-92eb-4bb5-8bfd-1661103a2928" xsi:nil="true"/>
    <lcf76f155ced4ddcb4097134ff3c332f xmlns="5c9ad062-aa00-492d-a75b-e00dca3b3d0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5C65BEC-ECD4-4D5E-A31C-B77D0B98D071}"/>
</file>

<file path=customXml/itemProps2.xml><?xml version="1.0" encoding="utf-8"?>
<ds:datastoreItem xmlns:ds="http://schemas.openxmlformats.org/officeDocument/2006/customXml" ds:itemID="{6D2AF38F-34D2-45C2-B345-AAC2B2D4A7F9}"/>
</file>

<file path=customXml/itemProps3.xml><?xml version="1.0" encoding="utf-8"?>
<ds:datastoreItem xmlns:ds="http://schemas.openxmlformats.org/officeDocument/2006/customXml" ds:itemID="{91D31B03-4929-4CAA-8E24-3CA551DFFDF9}"/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75</TotalTime>
  <Words>310</Words>
  <Application>Microsoft Office PowerPoint</Application>
  <PresentationFormat>Widescreen</PresentationFormat>
  <Paragraphs>2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rial</vt:lpstr>
      <vt:lpstr>Arial Black</vt:lpstr>
      <vt:lpstr>Calibri</vt:lpstr>
      <vt:lpstr>Courier New</vt:lpstr>
      <vt:lpstr>HelveticaNeue MediumCond</vt:lpstr>
      <vt:lpstr>Honeywell Sans Web Black</vt:lpstr>
      <vt:lpstr>Symbol</vt:lpstr>
      <vt:lpstr>Times New Roman</vt:lpstr>
      <vt:lpstr>Wingdings</vt:lpstr>
      <vt:lpstr>Honeywell 2019</vt:lpstr>
      <vt:lpstr>think-cell Slide</vt:lpstr>
      <vt:lpstr>HTF Nacelle: New special PROGRAM 34</vt:lpstr>
      <vt:lpstr>New SPECIAL Program 34</vt:lpstr>
      <vt:lpstr>SPGM 34 Request Template</vt:lpstr>
      <vt:lpstr>Questions (?)</vt:lpstr>
    </vt:vector>
  </TitlesOfParts>
  <Company>Honeyw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TF Nacelle: New special PROGRAM X</dc:title>
  <dc:creator>Rios-Marquez, Neftali (Nefti)</dc:creator>
  <cp:lastModifiedBy>Rios-Marquez, Neftali (Nefti)</cp:lastModifiedBy>
  <cp:revision>4</cp:revision>
  <dcterms:created xsi:type="dcterms:W3CDTF">2024-02-22T15:49:11Z</dcterms:created>
  <dcterms:modified xsi:type="dcterms:W3CDTF">2024-09-26T21:2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34FE2A5FCB4A40879E88ECF8489FD4</vt:lpwstr>
  </property>
</Properties>
</file>